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8" r:id="rId5"/>
    <p:sldMasterId id="2147483681" r:id="rId6"/>
  </p:sldMasterIdLst>
  <p:notesMasterIdLst>
    <p:notesMasterId r:id="rId10"/>
  </p:notesMasterIdLst>
  <p:handoutMasterIdLst>
    <p:handoutMasterId r:id="rId11"/>
  </p:handoutMasterIdLst>
  <p:sldIdLst>
    <p:sldId id="2147474015" r:id="rId7"/>
    <p:sldId id="2765" r:id="rId8"/>
    <p:sldId id="214747401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mmPort" id="{9B851410-B37A-4EBA-A115-1AC510473187}">
          <p14:sldIdLst>
            <p14:sldId id="2147474015"/>
            <p14:sldId id="2765"/>
            <p14:sldId id="2147474016"/>
          </p14:sldIdLst>
        </p14:section>
        <p14:section name="Appendix" id="{A96DCBD5-53F5-4F1C-8621-15953AEFF010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heen, Megan (NIH/NHLBI) [C]" initials="SM([" lastIdx="4" clrIdx="0">
    <p:extLst>
      <p:ext uri="{19B8F6BF-5375-455C-9EA6-DF929625EA0E}">
        <p15:presenceInfo xmlns:p15="http://schemas.microsoft.com/office/powerpoint/2012/main" userId="S::shaheenme@nih.gov::41c10a05-a5a6-408a-b90a-7aab70ad4817" providerId="AD"/>
      </p:ext>
    </p:extLst>
  </p:cmAuthor>
  <p:cmAuthor id="2" name="Cotton, Valerie (NIH/NICHD) [E]" initials="C[" lastIdx="9" clrIdx="1">
    <p:extLst>
      <p:ext uri="{19B8F6BF-5375-455C-9EA6-DF929625EA0E}">
        <p15:presenceInfo xmlns:p15="http://schemas.microsoft.com/office/powerpoint/2012/main" userId="S::cottonva@nih.gov::ee96ea7a-7cc8-4a24-aabd-9fb7e4cf093b" providerId="AD"/>
      </p:ext>
    </p:extLst>
  </p:cmAuthor>
  <p:cmAuthor id="3" name="Baden, Elizabeth (NIH/NICHD) [E]" initials="BE([" lastIdx="11" clrIdx="2">
    <p:extLst>
      <p:ext uri="{19B8F6BF-5375-455C-9EA6-DF929625EA0E}">
        <p15:presenceInfo xmlns:p15="http://schemas.microsoft.com/office/powerpoint/2012/main" userId="S::badenem@nih.gov::073db814-85fa-4963-af06-7cd6d35a0588" providerId="AD"/>
      </p:ext>
    </p:extLst>
  </p:cmAuthor>
  <p:cmAuthor id="4" name="Hostetler, Jessica (NIH/NHLBI) [E]" initials="H[" lastIdx="2" clrIdx="3">
    <p:extLst>
      <p:ext uri="{19B8F6BF-5375-455C-9EA6-DF929625EA0E}">
        <p15:presenceInfo xmlns:p15="http://schemas.microsoft.com/office/powerpoint/2012/main" userId="S::hostetlerjb@nih.gov::b965bd00-a536-4604-a4c9-30efca6366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542"/>
    <p:restoredTop sz="94374"/>
  </p:normalViewPr>
  <p:slideViewPr>
    <p:cSldViewPr snapToGrid="0">
      <p:cViewPr varScale="1">
        <p:scale>
          <a:sx n="104" d="100"/>
          <a:sy n="104" d="100"/>
        </p:scale>
        <p:origin x="19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ercentage of Predicted</a:t>
            </a:r>
            <a:r>
              <a:rPr lang="en-US" baseline="0"/>
              <a:t> </a:t>
            </a:r>
            <a:r>
              <a:rPr lang="en-US"/>
              <a:t>IMM</a:t>
            </a:r>
            <a:r>
              <a:rPr lang="en-US" baseline="0"/>
              <a:t> Awards </a:t>
            </a:r>
            <a:r>
              <a:rPr lang="en-US" sz="1800" b="0" i="0" baseline="0">
                <a:effectLst/>
              </a:rPr>
              <a:t>(All ICs)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IAI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0.374</c:v>
                </c:pt>
                <c:pt idx="1">
                  <c:v>0.442</c:v>
                </c:pt>
                <c:pt idx="2">
                  <c:v>0.41</c:v>
                </c:pt>
                <c:pt idx="3">
                  <c:v>0.422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6D-EB43-B816-E4741427F0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IAM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C$2:$C$5</c:f>
              <c:numCache>
                <c:formatCode>0.0%</c:formatCode>
                <c:ptCount val="4"/>
                <c:pt idx="0">
                  <c:v>0.28000000000000003</c:v>
                </c:pt>
                <c:pt idx="1">
                  <c:v>0.28199999999999997</c:v>
                </c:pt>
                <c:pt idx="2">
                  <c:v>0.38700000000000001</c:v>
                </c:pt>
                <c:pt idx="3">
                  <c:v>0.366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F6D-EB43-B816-E4741427F06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CI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7.6999999999999999E-2</c:v>
                </c:pt>
                <c:pt idx="1">
                  <c:v>0.10199999999999999</c:v>
                </c:pt>
                <c:pt idx="2">
                  <c:v>0.08</c:v>
                </c:pt>
                <c:pt idx="3">
                  <c:v>7.29999999999999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F6D-EB43-B816-E4741427F06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HLBI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E$2:$E$5</c:f>
              <c:numCache>
                <c:formatCode>0.0%</c:formatCode>
                <c:ptCount val="4"/>
                <c:pt idx="0">
                  <c:v>7.3999999999999996E-2</c:v>
                </c:pt>
                <c:pt idx="1">
                  <c:v>9.7000000000000003E-2</c:v>
                </c:pt>
                <c:pt idx="2">
                  <c:v>9.7000000000000003E-2</c:v>
                </c:pt>
                <c:pt idx="3">
                  <c:v>9.70000000000000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F6D-EB43-B816-E4741427F06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IDDK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F$2:$F$5</c:f>
              <c:numCache>
                <c:formatCode>0.0%</c:formatCode>
                <c:ptCount val="4"/>
                <c:pt idx="0">
                  <c:v>8.8999999999999996E-2</c:v>
                </c:pt>
                <c:pt idx="1">
                  <c:v>0.12</c:v>
                </c:pt>
                <c:pt idx="2">
                  <c:v>8.3000000000000004E-2</c:v>
                </c:pt>
                <c:pt idx="3">
                  <c:v>7.59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F6D-EB43-B816-E4741427F0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1819320"/>
        <c:axId val="2131758408"/>
      </c:lineChart>
      <c:catAx>
        <c:axId val="2131819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1758408"/>
        <c:crosses val="autoZero"/>
        <c:auto val="1"/>
        <c:lblAlgn val="ctr"/>
        <c:lblOffset val="100"/>
        <c:noMultiLvlLbl val="0"/>
      </c:catAx>
      <c:valAx>
        <c:axId val="2131758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1819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CD77B0A-E97A-4A07-AFA5-663DCD1BFDA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F23D5F-96B3-4A93-AC74-47830D898DE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4309F2-079C-4678-9468-C1CA023874B1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ACABE3-0354-42F3-99D0-5683B416D75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3D077-ABBC-4D50-A34A-D97251D0AAF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B9E652-4FFD-41BE-AD59-80934A1E4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4292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1BB249-4F8A-41D8-8B17-D876F4A414CC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EEFDD1-86C2-461E-AE8E-0D50FF41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014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41611-4963-BD48-A111-6429F50895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7858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41611-4963-BD48-A111-6429F50895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86145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41611-4963-BD48-A111-6429F50895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119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7635271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901006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366560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7575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4FE473-5418-4233-997B-D382F022B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4C94A4-35FC-4202-8422-61B788C06AC2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4731D5-0090-4770-A82E-B587F2FBD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1EF70-C725-42EF-9A21-949DA9574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12303-32CB-48FC-A034-EDBACBE5F4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324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41C5F-0C89-E74C-A399-929C34C944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E9EF48-7DC4-DA46-94D6-9826AD298C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B29110-6B63-EF45-835F-2B293036C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8052E9-657A-1940-8A1C-29CD9F4298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208C22-2D3E-C74C-85C9-C92C9F5F5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8973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B8592-7480-2746-9E6E-F92ED47E3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842A87-813C-6F4E-ADCC-A7C8F8D42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431F3A-F62F-2F42-8EEB-D42618A7D9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8ED6AB-D6BD-C044-8169-E49909E3A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44C052-00A6-9D49-B50E-5A7B52505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5756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A6E3D-C216-4449-B3D3-68A1AA9D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665DBD-E11B-0744-85AE-A14A1D7FF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57F005-E8D3-B248-9ABA-60213E7454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43632-440A-6947-A9EC-A4717D67A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B7F1FA-7574-B44F-A9DE-33FEE1C36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7270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B73DC-3D88-4E46-96F0-FB4BC36E8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4DBED8-ECFC-F141-925E-BEE525B7DD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838732-69E8-BA40-9667-3584ADB48F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177DAE-E883-CE45-BC35-3DF087E5F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6EA978-E301-5240-A09B-3E11502C67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9F8E3-CA4C-E24C-A8F7-84D565355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2706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1F55E-CD54-DA4B-AF96-8C422BF10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473A09-4C3F-DC45-8D8B-28F4030B94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27D57D-7D1D-2741-9968-32548A668B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6E706D-364C-934A-98B4-1FCBA90BC0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E4235E-8BD0-BE4A-9186-080957314C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7236BC-C43E-014D-B244-1350DB825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E5EDA0-9A74-EB4E-849B-54F6E9215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3FC21B-0148-0E44-B331-45ABF5B5F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4682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01920-3231-594A-A9F9-39EA21A96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473746-4EFD-B541-B1CC-3706A6023F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BDDA6A-1EDA-0B44-A361-0CA9F8176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BD1C23-5855-7141-938D-A045B3EE8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351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NHLBI COVID-19 Response Efforts</a:t>
            </a:r>
            <a:br>
              <a:rPr lang="en-US" noProof="0"/>
            </a:br>
            <a:endParaRPr lang="en-US" noProof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786088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6928A6-85EF-F34F-A6F5-EA97275DD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0CB1A9-C499-E54A-9F39-4B45ADE3C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A3F42-8048-AB4E-BB36-208E472DCE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7642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81982-8BDA-DC43-A414-E59FE7626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5F47AF-5731-7544-AFC4-605BF57ADD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B48BA3-C31F-C44E-B725-04E51DB7E8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BB6AA5-0335-394E-954B-4DA631A67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B7A124-7BF8-104E-87DB-F77698BFA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27DD6D-5BF7-6D40-937E-ABCD47B91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3061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1363A-B558-F04D-A3BA-692D0301D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7D0D00-C336-9549-B99D-B66F65FD5D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566F93-7438-B84E-AC56-5EFA93FDCB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5F8DCA-13EE-7048-8A63-C6B11A5DA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1505B3-D254-354B-9527-6EB7278C2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B8C3-96BB-C540-A8F9-6A2D24F0E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6665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D0CCF-0D5E-CE49-819C-241E09EEA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EEAE99-D90D-A54B-84AD-E4FFA5D61B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241389-C5B4-F24C-8931-C48A6E990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6001FA-AF71-454C-97EF-F423A3A0C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B61A7-19C8-2644-86E2-83D2BDC1B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279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CE93DB-8760-D943-8FC7-68669C44B4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3B993E-FF86-1341-8102-F44843E846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B9124D-9D2A-E140-98CC-DF7D96EA05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F5E928-49FE-4344-8D0D-596AE0AD2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4CB454-AC8A-8342-9B37-DBD3A6FB3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594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9EED69-EA39-4836-81F1-E6649B927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155885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127952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99483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26920" y="-29041"/>
            <a:ext cx="12193188" cy="45901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195455"/>
            <a:ext cx="5594348" cy="718053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NHLBI COVID-19 Response Efforts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2C941E2-B021-4AD9-9F88-B13D309F7BAF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26" y="3425371"/>
            <a:ext cx="3465859" cy="97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7093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2515460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8718148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9EED69-EA39-4836-81F1-E6649B927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6994700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697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95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DCE061-0585-D043-BAF9-293E8366D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614E4-5933-EC4B-99F8-6716B58CFF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D38712-3F69-1641-AE73-2174C94E50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402F46-F722-9141-9408-29ECAA308F03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17DB9C-2268-FA43-86E7-F3CC0A2521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F7B175-A0A3-4342-98A1-2E649933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8B54E5-9AAA-DC4F-BF9F-7B63316DB7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884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.png"/><Relationship Id="rId4" Type="http://schemas.openxmlformats.org/officeDocument/2006/relationships/hyperlink" Target="https://www.immport.org/hom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3140" y="8728"/>
            <a:ext cx="11360102" cy="1370013"/>
          </a:xfrm>
        </p:spPr>
        <p:txBody>
          <a:bodyPr>
            <a:normAutofit/>
          </a:bodyPr>
          <a:lstStyle/>
          <a:p>
            <a:r>
              <a:rPr lang="en-US" sz="2800" dirty="0" err="1">
                <a:solidFill>
                  <a:srgbClr val="000099"/>
                </a:solidFill>
                <a:latin typeface="Arial Black" charset="0"/>
                <a:ea typeface="ＭＳ Ｐゴシック" charset="0"/>
                <a:cs typeface="ＭＳ Ｐゴシック" charset="0"/>
              </a:rPr>
              <a:t>ImmPort</a:t>
            </a:r>
            <a:r>
              <a:rPr lang="en-US" sz="2800" dirty="0">
                <a:solidFill>
                  <a:srgbClr val="000099"/>
                </a:solidFill>
                <a:latin typeface="Arial Black" charset="0"/>
                <a:ea typeface="ＭＳ Ｐゴシック" charset="0"/>
                <a:cs typeface="ＭＳ Ｐゴシック" charset="0"/>
              </a:rPr>
              <a:t> – A Public Data Sharing Platform for Immunology Research and Clinical Studies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763146" y="1128498"/>
            <a:ext cx="1037465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/>
          <p:cNvSpPr>
            <a:spLocks noGrp="1"/>
          </p:cNvSpPr>
          <p:nvPr>
            <p:ph idx="1"/>
          </p:nvPr>
        </p:nvSpPr>
        <p:spPr>
          <a:xfrm>
            <a:off x="348991" y="1467789"/>
            <a:ext cx="8529179" cy="459754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None/>
            </a:pPr>
            <a:r>
              <a:rPr lang="en-US" b="1" i="0" u="none" strike="noStrike" dirty="0">
                <a:effectLst/>
              </a:rPr>
              <a:t>To provide curated data, reference data sets, and tools for collaboration and analysis </a:t>
            </a:r>
            <a:r>
              <a:rPr lang="en-US" b="1" dirty="0"/>
              <a:t>from the programs and collaborations of Division of Allergy, Immunology, and Transplantation (DAIT), NIAID </a:t>
            </a:r>
          </a:p>
          <a:p>
            <a:pPr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/>
              <a:t>To archive primary data to support research findings and enable reproductivity for the long term. </a:t>
            </a:r>
            <a:endParaRPr lang="en-US" b="1" dirty="0">
              <a:latin typeface="Arial" charset="0"/>
              <a:ea typeface="ＭＳ Ｐゴシック" charset="0"/>
              <a:cs typeface="Arial" charset="0"/>
            </a:endParaRPr>
          </a:p>
          <a:p>
            <a:pPr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/>
              <a:t>To reuse data to make new discoveries and generate hypotheses. </a:t>
            </a:r>
            <a:endParaRPr lang="en-US" dirty="0"/>
          </a:p>
        </p:txBody>
      </p:sp>
      <p:graphicFrame>
        <p:nvGraphicFramePr>
          <p:cNvPr id="7" name="Content Placeholder 12">
            <a:extLst>
              <a:ext uri="{FF2B5EF4-FFF2-40B4-BE49-F238E27FC236}">
                <a16:creationId xmlns:a16="http://schemas.microsoft.com/office/drawing/2014/main" id="{B7B880B5-BC88-DD46-BACB-FDAD5549158D}"/>
              </a:ext>
            </a:extLst>
          </p:cNvPr>
          <p:cNvGraphicFramePr>
            <a:graphicFrameLocks/>
          </p:cNvGraphicFramePr>
          <p:nvPr/>
        </p:nvGraphicFramePr>
        <p:xfrm>
          <a:off x="9012086" y="2118304"/>
          <a:ext cx="2830923" cy="3155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7B5DCC4B-671D-C14A-8235-33F3EA841101}"/>
              </a:ext>
            </a:extLst>
          </p:cNvPr>
          <p:cNvSpPr txBox="1">
            <a:spLocks/>
          </p:cNvSpPr>
          <p:nvPr/>
        </p:nvSpPr>
        <p:spPr>
          <a:xfrm>
            <a:off x="5452287" y="6274205"/>
            <a:ext cx="5893942" cy="5424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u="sng">
                <a:solidFill>
                  <a:schemeClr val="accent1">
                    <a:lumMod val="75000"/>
                  </a:schemeClr>
                </a:solidFill>
              </a:rPr>
              <a:t>ImmPort: </a:t>
            </a:r>
            <a:r>
              <a:rPr lang="en-US" sz="2000" b="1">
                <a:hlinkClick r:id="rId4"/>
              </a:rPr>
              <a:t>https://www.immport.org/home</a:t>
            </a:r>
            <a:endParaRPr lang="en-US" sz="2000" b="1" u="sng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71E00F-4CC6-4F0E-6C3F-67E87666EB0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049"/>
          <a:stretch/>
        </p:blipFill>
        <p:spPr>
          <a:xfrm>
            <a:off x="65563" y="6394032"/>
            <a:ext cx="1397987" cy="4194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9A23E1F-E97E-2560-DE72-1B08D2D09822}"/>
              </a:ext>
            </a:extLst>
          </p:cNvPr>
          <p:cNvSpPr/>
          <p:nvPr/>
        </p:nvSpPr>
        <p:spPr>
          <a:xfrm>
            <a:off x="9644063" y="3257552"/>
            <a:ext cx="1971675" cy="35718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839784-9F30-E83F-0B0A-6916A6F50351}"/>
              </a:ext>
            </a:extLst>
          </p:cNvPr>
          <p:cNvSpPr/>
          <p:nvPr/>
        </p:nvSpPr>
        <p:spPr>
          <a:xfrm>
            <a:off x="9244013" y="4686300"/>
            <a:ext cx="814387" cy="2286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162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76513" y="51914"/>
            <a:ext cx="10682287" cy="1370013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rgbClr val="000099"/>
                </a:solidFill>
                <a:latin typeface="Arial Black" charset="0"/>
                <a:ea typeface="ＭＳ Ｐゴシック" charset="0"/>
                <a:cs typeface="ＭＳ Ｐゴシック" charset="0"/>
              </a:rPr>
              <a:t>A Trustworthy Data Repository for Immunology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763146" y="1128498"/>
            <a:ext cx="1037465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E30C2B4-8DC6-2C41-8A11-1003FFC89F7E}"/>
              </a:ext>
            </a:extLst>
          </p:cNvPr>
          <p:cNvSpPr txBox="1"/>
          <p:nvPr/>
        </p:nvSpPr>
        <p:spPr>
          <a:xfrm>
            <a:off x="1777559" y="6488668"/>
            <a:ext cx="3708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i Data. 2018 Feb 27;5:180015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i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10.1038/sdata.2018.15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A0EB32-1CEE-A94E-9DFF-A01CAC37E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66" y="1421596"/>
            <a:ext cx="1698589" cy="215383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606CB2A-74D2-5643-8E05-8CA3723804EE}"/>
              </a:ext>
            </a:extLst>
          </p:cNvPr>
          <p:cNvSpPr txBox="1"/>
          <p:nvPr/>
        </p:nvSpPr>
        <p:spPr>
          <a:xfrm>
            <a:off x="6517657" y="1371207"/>
            <a:ext cx="3574609" cy="21698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000099"/>
                </a:solidFill>
                <a:latin typeface="Arial Black" charset="0"/>
                <a:ea typeface="ＭＳ Ｐゴシック" charset="0"/>
                <a:cs typeface="ＭＳ Ｐゴシック" charset="0"/>
              </a:rPr>
              <a:t>Data Highlight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dirty="0">
                <a:latin typeface="Calibri" panose="020F0502020204030204"/>
              </a:rPr>
              <a:t>771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udies shared (173 clinical trials)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cs typeface="Calibri"/>
            </a:endParaRPr>
          </a:p>
          <a:p>
            <a:pPr marL="285750" lvl="0" indent="-285750">
              <a:buFont typeface="Wingdings" panose="05000000000000000000" pitchFamily="2" charset="2"/>
              <a:buChar char="§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ies using </a:t>
            </a:r>
            <a:r>
              <a:rPr lang="en-US" dirty="0"/>
              <a:t>both human ject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animal models</a:t>
            </a:r>
          </a:p>
          <a:p>
            <a:pPr marL="285750" lvl="0" indent="-285750">
              <a:buFont typeface="Wingdings" panose="05000000000000000000" pitchFamily="2" charset="2"/>
              <a:buChar char="§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5+ variety of immuno-assa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51BE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D97C555-ECD3-E383-30A4-7CCBBB099C6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049"/>
          <a:stretch/>
        </p:blipFill>
        <p:spPr>
          <a:xfrm>
            <a:off x="65563" y="6394032"/>
            <a:ext cx="1397987" cy="4194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21A38FC-4926-6480-77F8-E6465165B5F4}"/>
              </a:ext>
            </a:extLst>
          </p:cNvPr>
          <p:cNvSpPr txBox="1"/>
          <p:nvPr/>
        </p:nvSpPr>
        <p:spPr>
          <a:xfrm>
            <a:off x="6517657" y="3385582"/>
            <a:ext cx="525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000099"/>
                </a:solidFill>
                <a:latin typeface="Arial Black" charset="0"/>
                <a:ea typeface="ＭＳ Ｐゴシック" charset="0"/>
                <a:cs typeface="ＭＳ Ｐゴシック" charset="0"/>
              </a:rPr>
              <a:t>Data Reus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7A548C-AB3F-9A44-DA99-B0B36CCAB5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3550" y="1265908"/>
            <a:ext cx="4511276" cy="52227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338841-81EB-CE0D-4AD5-EFFE9B1E8B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5601" y="3792787"/>
            <a:ext cx="3400792" cy="2750344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03D5D64-910D-9DB2-D3A8-0237581207CB}"/>
              </a:ext>
            </a:extLst>
          </p:cNvPr>
          <p:cNvSpPr txBox="1"/>
          <p:nvPr/>
        </p:nvSpPr>
        <p:spPr>
          <a:xfrm>
            <a:off x="10310401" y="6449879"/>
            <a:ext cx="18402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https://</a:t>
            </a:r>
            <a:r>
              <a:rPr lang="en-US" sz="1400" dirty="0" err="1"/>
              <a:t>immport.org</a:t>
            </a:r>
            <a:endParaRPr lang="en-US" sz="1400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466F21C-5E2C-FA5D-0C23-67A4BA2303CC}"/>
              </a:ext>
            </a:extLst>
          </p:cNvPr>
          <p:cNvCxnSpPr/>
          <p:nvPr/>
        </p:nvCxnSpPr>
        <p:spPr>
          <a:xfrm>
            <a:off x="6517657" y="3354864"/>
            <a:ext cx="336550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4260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3140" y="8728"/>
            <a:ext cx="11360102" cy="1370013"/>
          </a:xfrm>
        </p:spPr>
        <p:txBody>
          <a:bodyPr>
            <a:normAutofit/>
          </a:bodyPr>
          <a:lstStyle/>
          <a:p>
            <a:r>
              <a:rPr lang="en-US" sz="2800" dirty="0" err="1">
                <a:solidFill>
                  <a:srgbClr val="000099"/>
                </a:solidFill>
                <a:latin typeface="Arial Black" charset="0"/>
                <a:ea typeface="ＭＳ Ｐゴシック" charset="0"/>
                <a:cs typeface="ＭＳ Ｐゴシック" charset="0"/>
              </a:rPr>
              <a:t>ImmPort</a:t>
            </a:r>
            <a:r>
              <a:rPr lang="en-US" sz="2800" dirty="0">
                <a:solidFill>
                  <a:srgbClr val="000099"/>
                </a:solidFill>
                <a:latin typeface="Arial Black" charset="0"/>
                <a:ea typeface="ＭＳ Ｐゴシック" charset="0"/>
                <a:cs typeface="ＭＳ Ｐゴシック" charset="0"/>
              </a:rPr>
              <a:t> – Challenges and Opportunities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763146" y="1128498"/>
            <a:ext cx="1037465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/>
          <p:cNvSpPr>
            <a:spLocks noGrp="1"/>
          </p:cNvSpPr>
          <p:nvPr>
            <p:ph idx="1"/>
          </p:nvPr>
        </p:nvSpPr>
        <p:spPr>
          <a:xfrm>
            <a:off x="543140" y="1378740"/>
            <a:ext cx="9927636" cy="5165493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/>
              <a:t>To Foster a culture where data sharing the norm.</a:t>
            </a:r>
          </a:p>
          <a:p>
            <a:pPr lvl="1"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>
                <a:ea typeface="ＭＳ Ｐゴシック" charset="0"/>
                <a:cs typeface="Arial" charset="0"/>
              </a:rPr>
              <a:t> Actively participate in the entire data life cycle.</a:t>
            </a:r>
          </a:p>
          <a:p>
            <a:pPr lvl="1"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>
                <a:ea typeface="ＭＳ Ｐゴシック" charset="0"/>
                <a:cs typeface="Arial" charset="0"/>
              </a:rPr>
              <a:t> Facilitate the implementation of the NIH Data Management and Sharing Policy Implementation.</a:t>
            </a:r>
          </a:p>
          <a:p>
            <a:pPr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/>
              <a:t>To maximize the value of data for new discoveries and hypothesis generation. </a:t>
            </a:r>
          </a:p>
          <a:p>
            <a:pPr lvl="1"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/>
              <a:t> </a:t>
            </a:r>
            <a:r>
              <a:rPr lang="en-US" b="1" dirty="0">
                <a:cs typeface="Arial" panose="020B0604020202020204" pitchFamily="34" charset="0"/>
              </a:rPr>
              <a:t>Uphold the FAIR and TRUST Principles.</a:t>
            </a:r>
          </a:p>
          <a:p>
            <a:pPr lvl="1">
              <a:spcBef>
                <a:spcPts val="600"/>
              </a:spcBef>
              <a:spcAft>
                <a:spcPts val="1800"/>
              </a:spcAft>
              <a:buClr>
                <a:srgbClr val="CC0000"/>
              </a:buClr>
              <a:buFont typeface="Arial" panose="020B0604020202020204" pitchFamily="34" charset="0"/>
              <a:buChar char="■"/>
            </a:pPr>
            <a:r>
              <a:rPr lang="en-US" b="1" dirty="0">
                <a:cs typeface="Arial" panose="020B0604020202020204" pitchFamily="34" charset="0"/>
              </a:rPr>
              <a:t> Serve as a versatile A plug-in-play data provider across diverse data ecosystems.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71E00F-4CC6-4F0E-6C3F-67E87666EB0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049"/>
          <a:stretch/>
        </p:blipFill>
        <p:spPr>
          <a:xfrm>
            <a:off x="65563" y="6394032"/>
            <a:ext cx="1397987" cy="419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6962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heme/theme1.xml><?xml version="1.0" encoding="utf-8"?>
<a:theme xmlns:a="http://schemas.openxmlformats.org/drawingml/2006/main" name="2_Deloitte_US_Onscreen">
  <a:themeElements>
    <a:clrScheme name="Custom 14">
      <a:dk1>
        <a:srgbClr val="000000"/>
      </a:dk1>
      <a:lt1>
        <a:srgbClr val="FFFFFF"/>
      </a:lt1>
      <a:dk2>
        <a:srgbClr val="20558A"/>
      </a:dk2>
      <a:lt2>
        <a:srgbClr val="F4F4F4"/>
      </a:lt2>
      <a:accent1>
        <a:srgbClr val="178381"/>
      </a:accent1>
      <a:accent2>
        <a:srgbClr val="6991AC"/>
      </a:accent2>
      <a:accent3>
        <a:srgbClr val="E6B174"/>
      </a:accent3>
      <a:accent4>
        <a:srgbClr val="C3D8DF"/>
      </a:accent4>
      <a:accent5>
        <a:srgbClr val="616265"/>
      </a:accent5>
      <a:accent6>
        <a:srgbClr val="E57200"/>
      </a:accent6>
      <a:hlink>
        <a:srgbClr val="0079D2"/>
      </a:hlink>
      <a:folHlink>
        <a:srgbClr val="800080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2.xml><?xml version="1.0" encoding="utf-8"?>
<a:theme xmlns:a="http://schemas.openxmlformats.org/drawingml/2006/main" name="3_Deloitte_US_Onscreen">
  <a:themeElements>
    <a:clrScheme name="Custom 14">
      <a:dk1>
        <a:srgbClr val="000000"/>
      </a:dk1>
      <a:lt1>
        <a:srgbClr val="FFFFFF"/>
      </a:lt1>
      <a:dk2>
        <a:srgbClr val="20558A"/>
      </a:dk2>
      <a:lt2>
        <a:srgbClr val="F4F4F4"/>
      </a:lt2>
      <a:accent1>
        <a:srgbClr val="178381"/>
      </a:accent1>
      <a:accent2>
        <a:srgbClr val="6991AC"/>
      </a:accent2>
      <a:accent3>
        <a:srgbClr val="E6B174"/>
      </a:accent3>
      <a:accent4>
        <a:srgbClr val="C3D8DF"/>
      </a:accent4>
      <a:accent5>
        <a:srgbClr val="616265"/>
      </a:accent5>
      <a:accent6>
        <a:srgbClr val="E57200"/>
      </a:accent6>
      <a:hlink>
        <a:srgbClr val="0079D2"/>
      </a:hlink>
      <a:folHlink>
        <a:srgbClr val="800080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559E1B0E4BB8498EB525461DDF4905" ma:contentTypeVersion="9" ma:contentTypeDescription="Create a new document." ma:contentTypeScope="" ma:versionID="dce510a8c870a67ed4009c387e248e29">
  <xsd:schema xmlns:xsd="http://www.w3.org/2001/XMLSchema" xmlns:xs="http://www.w3.org/2001/XMLSchema" xmlns:p="http://schemas.microsoft.com/office/2006/metadata/properties" xmlns:ns2="6b8669b0-6574-4d07-86da-697da7026110" xmlns:ns3="8e46f0e9-fe00-406f-ac91-4fe5157d77a6" targetNamespace="http://schemas.microsoft.com/office/2006/metadata/properties" ma:root="true" ma:fieldsID="8086c16b47d977b02eb338e60a615efb" ns2:_="" ns3:_="">
    <xsd:import namespace="6b8669b0-6574-4d07-86da-697da7026110"/>
    <xsd:import namespace="8e46f0e9-fe00-406f-ac91-4fe5157d77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8669b0-6574-4d07-86da-697da70261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46f0e9-fe00-406f-ac91-4fe5157d77a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B029F6-AA7A-4753-9AE2-C8F5EECF78A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FFD732-E855-4061-99D3-5F25B0E5A17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32D7548-3362-4BF6-B673-DEBF4F88FC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8669b0-6574-4d07-86da-697da7026110"/>
    <ds:schemaRef ds:uri="8e46f0e9-fe00-406f-ac91-4fe5157d77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28</TotalTime>
  <Words>222</Words>
  <Application>Microsoft Office PowerPoint</Application>
  <PresentationFormat>Widescreen</PresentationFormat>
  <Paragraphs>25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Arial</vt:lpstr>
      <vt:lpstr>Arial Black</vt:lpstr>
      <vt:lpstr>Calibri</vt:lpstr>
      <vt:lpstr>Calibri Light</vt:lpstr>
      <vt:lpstr>Open Sans</vt:lpstr>
      <vt:lpstr>Open Sans Light</vt:lpstr>
      <vt:lpstr>Open Sans Semibold</vt:lpstr>
      <vt:lpstr>Verdana</vt:lpstr>
      <vt:lpstr>Wingdings</vt:lpstr>
      <vt:lpstr>Wingdings 2</vt:lpstr>
      <vt:lpstr>2_Deloitte_US_Onscreen</vt:lpstr>
      <vt:lpstr>3_Deloitte_US_Onscreen</vt:lpstr>
      <vt:lpstr>Office Theme</vt:lpstr>
      <vt:lpstr>think-cell Slide</vt:lpstr>
      <vt:lpstr>ImmPort – A Public Data Sharing Platform for Immunology Research and Clinical Studies</vt:lpstr>
      <vt:lpstr>A Trustworthy Data Repository for Immunology</vt:lpstr>
      <vt:lpstr>ImmPort – Challenges and Opportunit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cis, Jesse (NIH/NHLBI) [C]</dc:creator>
  <cp:lastModifiedBy>Rodriguez, Rebecca (NIH/NIDDK) [E]</cp:lastModifiedBy>
  <cp:revision>22</cp:revision>
  <dcterms:created xsi:type="dcterms:W3CDTF">2020-06-17T20:42:51Z</dcterms:created>
  <dcterms:modified xsi:type="dcterms:W3CDTF">2023-09-15T19:3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559E1B0E4BB8498EB525461DDF4905</vt:lpwstr>
  </property>
</Properties>
</file>